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78" r:id="rId3"/>
    <p:sldId id="311" r:id="rId4"/>
    <p:sldId id="385" r:id="rId5"/>
    <p:sldId id="381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00" autoAdjust="0"/>
    <p:restoredTop sz="85820" autoAdjust="0"/>
  </p:normalViewPr>
  <p:slideViewPr>
    <p:cSldViewPr snapToObjects="1" showGuides="1">
      <p:cViewPr varScale="1">
        <p:scale>
          <a:sx n="100" d="100"/>
          <a:sy n="100" d="100"/>
        </p:scale>
        <p:origin x="1816" y="160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/15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4/15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2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2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0985" y="6177845"/>
            <a:ext cx="8416290" cy="276999"/>
          </a:xfrm>
        </p:spPr>
        <p:txBody>
          <a:bodyPr wrap="square" anchor="ctr"/>
          <a:lstStyle/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1050" y="3563566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1050" y="3097107"/>
            <a:ext cx="9361046" cy="338455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00" b="0" dirty="0">
                <a:effectLst/>
                <a:latin typeface="Palatino Linotype" panose="02040502050505030304" pitchFamily="18" charset="0"/>
                <a:ea typeface="等线" panose="02010600030101010101" pitchFamily="2" charset="-122"/>
                <a:cs typeface="Times New Roman Regular" panose="02020503050405090304" charset="0"/>
              </a:rPr>
              <a:t>A platform economics-based perspective.</a:t>
            </a:r>
          </a:p>
        </p:txBody>
      </p:sp>
      <p:sp>
        <p:nvSpPr>
          <p:cNvPr id="11" name="文本占位符 8"/>
          <p:cNvSpPr txBox="1"/>
          <p:nvPr/>
        </p:nvSpPr>
        <p:spPr>
          <a:xfrm>
            <a:off x="263129" y="4993036"/>
            <a:ext cx="7772756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1699" y="3551065"/>
            <a:ext cx="3348372" cy="251127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Let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’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s do a survey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bout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8"/>
          <a:stretch>
            <a:fillRect/>
          </a:stretch>
        </p:blipFill>
        <p:spPr>
          <a:xfrm>
            <a:off x="127670" y="1252484"/>
            <a:ext cx="1841186" cy="38179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575" y="1252484"/>
            <a:ext cx="2133244" cy="38179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7670" y="5418206"/>
            <a:ext cx="4182149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ave you ever been asked to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</a:p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Did you succeed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(I did it in 1</a:t>
            </a:r>
            <a:r>
              <a:rPr lang="en-US" altLang="zh-CN" sz="1400" baseline="300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Oct. 2019)</a:t>
            </a:r>
          </a:p>
        </p:txBody>
      </p:sp>
      <p:pic>
        <p:nvPicPr>
          <p:cNvPr id="12290" name="Picture 2" descr="互联网传销识别指南「2017版」 - 知乎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1" r="46292"/>
          <a:stretch/>
        </p:blipFill>
        <p:spPr bwMode="auto">
          <a:xfrm>
            <a:off x="4517538" y="1252484"/>
            <a:ext cx="3194791" cy="374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824537" y="5444477"/>
            <a:ext cx="4952206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When you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it grows like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传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.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The only difference is that it doesn‘t cheat you out of money but your time !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1315085" y="6273800"/>
            <a:ext cx="734568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DD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 tool f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Using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aking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?</a:t>
            </a:r>
            <a:endParaRPr lang="en-US" altLang="zh-CN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1136" y="2997746"/>
            <a:ext cx="3325607" cy="199840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as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Taking Off ✈️ 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15" name="标题 1"/>
          <p:cNvSpPr txBox="1"/>
          <p:nvPr/>
        </p:nvSpPr>
        <p:spPr bwMode="auto">
          <a:xfrm>
            <a:off x="688657" y="6060506"/>
            <a:ext cx="8908177" cy="6806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Figure 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WHY</a:t>
            </a:r>
            <a:r>
              <a:rPr lang="en-US" altLang="zh-CN" sz="1800" dirty="0">
                <a:cs typeface="Times New Roman Regular" panose="02020503050405090304" charset="0"/>
              </a:rPr>
              <a:t> did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take off ?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altLang="zh-CN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Think ab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HOW</a:t>
            </a:r>
            <a:r>
              <a:rPr lang="en-US" altLang="zh-CN" sz="1800" dirty="0">
                <a:cs typeface="Times New Roman Regular" panose="02020503050405090304" charset="0"/>
              </a:rPr>
              <a:t> to continue the legend of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!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sz="1800" dirty="0">
              <a:cs typeface="Times New Roman Regular" panose="0202050305040509030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4F42F5-202A-6144-957C-5B0318E719DA}"/>
              </a:ext>
            </a:extLst>
          </p:cNvPr>
          <p:cNvGrpSpPr/>
          <p:nvPr/>
        </p:nvGrpSpPr>
        <p:grpSpPr>
          <a:xfrm>
            <a:off x="1315890" y="1224990"/>
            <a:ext cx="7385462" cy="4519159"/>
            <a:chOff x="1030295" y="1085046"/>
            <a:chExt cx="7385462" cy="451915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ACA90F2-9EA7-8249-B1A4-451D9AEE6027}"/>
                </a:ext>
              </a:extLst>
            </p:cNvPr>
            <p:cNvGrpSpPr/>
            <p:nvPr/>
          </p:nvGrpSpPr>
          <p:grpSpPr>
            <a:xfrm>
              <a:off x="5164529" y="1092372"/>
              <a:ext cx="3251228" cy="4511833"/>
              <a:chOff x="5672284" y="1092372"/>
              <a:chExt cx="3251228" cy="4511833"/>
            </a:xfrm>
          </p:grpSpPr>
          <p:sp>
            <p:nvSpPr>
              <p:cNvPr id="9" name="文本框 8"/>
              <p:cNvSpPr txBox="1"/>
              <p:nvPr/>
            </p:nvSpPr>
            <p:spPr>
              <a:xfrm>
                <a:off x="5720450" y="3082415"/>
                <a:ext cx="3154710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2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GAAP/Non-GAAP profit and profit rate</a:t>
                </a:r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6018031" y="5419539"/>
                <a:ext cx="2559547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4.</a:t>
                </a:r>
                <a:r>
                  <a:rPr lang="zh-CN" altLang="en-US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Annual active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domestic buyers.</a:t>
                </a:r>
              </a:p>
            </p:txBody>
          </p:sp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72284" y="3425066"/>
                <a:ext cx="3251042" cy="1954044"/>
              </a:xfrm>
              <a:prstGeom prst="rect">
                <a:avLst/>
              </a:prstGeom>
            </p:spPr>
          </p:pic>
          <p:pic>
            <p:nvPicPr>
              <p:cNvPr id="14" name="图片 1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72286" y="1092372"/>
                <a:ext cx="3251226" cy="1949614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11980D-1E74-9248-8DFB-1393C641B76E}"/>
                </a:ext>
              </a:extLst>
            </p:cNvPr>
            <p:cNvGrpSpPr/>
            <p:nvPr/>
          </p:nvGrpSpPr>
          <p:grpSpPr>
            <a:xfrm>
              <a:off x="1030295" y="1085046"/>
              <a:ext cx="3251226" cy="4519159"/>
              <a:chOff x="604521" y="1095085"/>
              <a:chExt cx="3251226" cy="4519159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913264" y="3092454"/>
                <a:ext cx="2633734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1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Income and growth rate of PDD.</a:t>
                </a: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1249093" y="5429578"/>
                <a:ext cx="1962076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3.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GMV and growth rate.</a:t>
                </a:r>
              </a:p>
            </p:txBody>
          </p:sp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4521" y="1095085"/>
                <a:ext cx="3251226" cy="1950046"/>
              </a:xfrm>
              <a:prstGeom prst="rect">
                <a:avLst/>
              </a:prstGeom>
            </p:spPr>
          </p:pic>
          <p:pic>
            <p:nvPicPr>
              <p:cNvPr id="17" name="图片 1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4521" y="3425066"/>
                <a:ext cx="3251226" cy="1954044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Analyze</a:t>
            </a:r>
            <a:r>
              <a:rPr lang="zh-CN" altLang="en-US" dirty="0"/>
              <a:t> </a:t>
            </a:r>
            <a:r>
              <a:rPr lang="en-US" altLang="zh-CN" dirty="0"/>
              <a:t>based</a:t>
            </a:r>
            <a:r>
              <a:rPr lang="zh-CN" altLang="en-US" dirty="0"/>
              <a:t> </a:t>
            </a:r>
            <a:r>
              <a:rPr lang="en-US" altLang="zh-CN" dirty="0"/>
              <a:t>on</a:t>
            </a:r>
            <a:r>
              <a:rPr lang="zh-CN" altLang="en-US" dirty="0"/>
              <a:t> </a:t>
            </a:r>
            <a:r>
              <a:rPr lang="en-US" altLang="zh-CN" b="1" dirty="0">
                <a:solidFill>
                  <a:schemeClr val="bg2"/>
                </a:solidFill>
              </a:rPr>
              <a:t>platform economics</a:t>
            </a:r>
            <a:r>
              <a:rPr lang="en-US" altLang="zh-CN" dirty="0"/>
              <a:t>. 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E3E75-ED17-5346-88FD-8A5C3B93B162}"/>
              </a:ext>
            </a:extLst>
          </p:cNvPr>
          <p:cNvGrpSpPr/>
          <p:nvPr/>
        </p:nvGrpSpPr>
        <p:grpSpPr>
          <a:xfrm>
            <a:off x="379698" y="1485578"/>
            <a:ext cx="9147968" cy="4638069"/>
            <a:chOff x="377635" y="1070992"/>
            <a:chExt cx="9147968" cy="4638069"/>
          </a:xfrm>
        </p:grpSpPr>
        <p:pic>
          <p:nvPicPr>
            <p:cNvPr id="17" name="图片 16" descr="qian"/>
            <p:cNvPicPr>
              <a:picLocks noChangeAspect="1"/>
            </p:cNvPicPr>
            <p:nvPr/>
          </p:nvPicPr>
          <p:blipFill>
            <a:blip r:embed="rId2">
              <a:alphaModFix amt="10000"/>
            </a:blip>
            <a:stretch>
              <a:fillRect/>
            </a:stretch>
          </p:blipFill>
          <p:spPr>
            <a:xfrm>
              <a:off x="3514455" y="1778878"/>
              <a:ext cx="2874328" cy="2874328"/>
            </a:xfrm>
            <a:prstGeom prst="rect">
              <a:avLst/>
            </a:prstGeom>
          </p:spPr>
        </p:pic>
        <p:pic>
          <p:nvPicPr>
            <p:cNvPr id="15" name="图片 14" descr="diannao"/>
            <p:cNvPicPr>
              <a:picLocks noChangeAspect="1"/>
            </p:cNvPicPr>
            <p:nvPr/>
          </p:nvPicPr>
          <p:blipFill>
            <a:blip r:embed="rId3">
              <a:alphaModFix amt="10000"/>
            </a:blip>
            <a:stretch>
              <a:fillRect/>
            </a:stretch>
          </p:blipFill>
          <p:spPr>
            <a:xfrm>
              <a:off x="385113" y="1778877"/>
              <a:ext cx="2874328" cy="2874328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81176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eople</a:t>
              </a:r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 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Network Effect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3726719" y="2354267"/>
              <a:ext cx="2449800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just" fontAlgn="auto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SzTx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adjusting product prices and data traffic through algorithms, 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dynamic pricing optimizes resource matching efficiency 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which demonstrates how platforms leverage data-driven approaches to precisely align supply and demand.</a:t>
              </a: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351445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ricing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Dynamic Pricing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pic>
          <p:nvPicPr>
            <p:cNvPr id="18" name="图片 17" descr="youxi-2"/>
            <p:cNvPicPr>
              <a:picLocks noChangeAspect="1"/>
            </p:cNvPicPr>
            <p:nvPr/>
          </p:nvPicPr>
          <p:blipFill>
            <a:blip r:embed="rId4">
              <a:alphaModFix amt="10000"/>
            </a:blip>
            <a:stretch>
              <a:fillRect/>
            </a:stretch>
          </p:blipFill>
          <p:spPr>
            <a:xfrm>
              <a:off x="6651275" y="1778877"/>
              <a:ext cx="2874328" cy="287432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6651275" y="2354267"/>
              <a:ext cx="2874327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leveraging principles of behavioral economics, gamified operations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incentivize user par-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icipation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extend platform engagement time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 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This design aligns with platform economics' strategies for 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captur-ing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retaining user attention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65127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rick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Gamified Operation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13" name="文本框 2">
              <a:extLst>
                <a:ext uri="{FF2B5EF4-FFF2-40B4-BE49-F238E27FC236}">
                  <a16:creationId xmlns:a16="http://schemas.microsoft.com/office/drawing/2014/main" id="{F674595B-8CED-E94E-9EEB-F95BBE67D6AC}"/>
                </a:ext>
              </a:extLst>
            </p:cNvPr>
            <p:cNvSpPr txBox="1"/>
            <p:nvPr/>
          </p:nvSpPr>
          <p:spPr>
            <a:xfrm>
              <a:off x="377635" y="1778877"/>
              <a:ext cx="2874328" cy="287432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By positively connecting users on both the supply and demand sides, its social viral model (like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砍一刀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and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拼团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)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leverages WeChat to reach users at low cost in lower-tier markets.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It attracts merchants to join, forming a virtuous cycle of user growth and product supply.</a:t>
              </a:r>
              <a:endParaRPr lang="zh-CN" altLang="en-US" sz="1400" dirty="0"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charset="0"/>
              </a:endParaRPr>
            </a:p>
          </p:txBody>
        </p:sp>
        <p:sp>
          <p:nvSpPr>
            <p:cNvPr id="16" name="文字方塊 4">
              <a:extLst>
                <a:ext uri="{FF2B5EF4-FFF2-40B4-BE49-F238E27FC236}">
                  <a16:creationId xmlns:a16="http://schemas.microsoft.com/office/drawing/2014/main" id="{6B68683A-6201-E148-8218-96738B00C0DB}"/>
                </a:ext>
              </a:extLst>
            </p:cNvPr>
            <p:cNvSpPr txBox="1"/>
            <p:nvPr/>
          </p:nvSpPr>
          <p:spPr>
            <a:xfrm>
              <a:off x="377635" y="5001174"/>
              <a:ext cx="9147967" cy="707887"/>
            </a:xfrm>
            <a:prstGeom prst="rect">
              <a:avLst/>
            </a:prstGeom>
            <a:solidFill>
              <a:srgbClr val="9B1717"/>
            </a:solidFill>
            <a:ln w="76200" cap="rnd">
              <a:solidFill>
                <a:srgbClr val="9B17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Based on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y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and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model of platform economic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we will analy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underlying logic of PDD operation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and summari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etical framework of take-off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.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-1" y="2565698"/>
            <a:ext cx="9904413" cy="498713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4841625"/>
            <a:ext cx="9904413" cy="83058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  <a:p>
            <a:pPr algn="ctr">
              <a:lnSpc>
                <a:spcPct val="100000"/>
              </a:lnSpc>
            </a:pPr>
            <a:endParaRPr lang="en-US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74049" y="3795178"/>
            <a:ext cx="4956312" cy="42989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2200" i="0" u="none" strike="noStrike" dirty="0">
                <a:solidFill>
                  <a:srgbClr val="404040"/>
                </a:solidFill>
                <a:effectLst/>
                <a:latin typeface="Palatino Linotype" panose="02040502050505030304" pitchFamily="18" charset="0"/>
                <a:cs typeface="Times New Roman Regular" panose="02020503050405090304" charset="0"/>
              </a:rPr>
              <a:t>Feedback &amp; Suggestions Welcome!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3</Words>
  <Application>Microsoft Macintosh PowerPoint</Application>
  <PresentationFormat>Custom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Vrinda</vt:lpstr>
      <vt:lpstr>Palatino Linotype</vt:lpstr>
      <vt:lpstr>Arial</vt:lpstr>
      <vt:lpstr>Wingdings</vt:lpstr>
      <vt:lpstr>CR Onlytext</vt:lpstr>
      <vt:lpstr>think-cell Slide</vt:lpstr>
      <vt:lpstr>Why did PDD take off ?</vt:lpstr>
      <vt:lpstr>Let’s do a survey about PDD !</vt:lpstr>
      <vt:lpstr>PDD was Taking Off ✈️ !</vt:lpstr>
      <vt:lpstr>Analyze based on platform economics. </vt:lpstr>
      <vt:lpstr>Why did PDD take off 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4-15T05:31:26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